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5" r:id="rId1"/>
  </p:sldMasterIdLst>
  <p:notesMasterIdLst>
    <p:notesMasterId r:id="rId28"/>
  </p:notesMasterIdLst>
  <p:handoutMasterIdLst>
    <p:handoutMasterId r:id="rId29"/>
  </p:handoutMasterIdLst>
  <p:sldIdLst>
    <p:sldId id="256" r:id="rId2"/>
    <p:sldId id="342" r:id="rId3"/>
    <p:sldId id="346" r:id="rId4"/>
    <p:sldId id="336" r:id="rId5"/>
    <p:sldId id="350" r:id="rId6"/>
    <p:sldId id="337" r:id="rId7"/>
    <p:sldId id="343" r:id="rId8"/>
    <p:sldId id="397" r:id="rId9"/>
    <p:sldId id="360" r:id="rId10"/>
    <p:sldId id="352" r:id="rId11"/>
    <p:sldId id="358" r:id="rId12"/>
    <p:sldId id="396" r:id="rId13"/>
    <p:sldId id="348" r:id="rId14"/>
    <p:sldId id="404" r:id="rId15"/>
    <p:sldId id="401" r:id="rId16"/>
    <p:sldId id="322" r:id="rId17"/>
    <p:sldId id="402" r:id="rId18"/>
    <p:sldId id="349" r:id="rId19"/>
    <p:sldId id="316" r:id="rId20"/>
    <p:sldId id="388" r:id="rId21"/>
    <p:sldId id="393" r:id="rId22"/>
    <p:sldId id="392" r:id="rId23"/>
    <p:sldId id="391" r:id="rId24"/>
    <p:sldId id="390" r:id="rId25"/>
    <p:sldId id="389" r:id="rId26"/>
    <p:sldId id="394" r:id="rId27"/>
  </p:sldIdLst>
  <p:sldSz cx="9144000" cy="6858000" type="screen4x3"/>
  <p:notesSz cx="6858000" cy="9144000"/>
  <p:custDataLst>
    <p:tags r:id="rId30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99FF"/>
    <a:srgbClr val="00CCFF"/>
    <a:srgbClr val="000099"/>
    <a:srgbClr val="0033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7456" autoAdjust="0"/>
    <p:restoredTop sz="71147" autoAdjust="0"/>
  </p:normalViewPr>
  <p:slideViewPr>
    <p:cSldViewPr>
      <p:cViewPr varScale="1">
        <p:scale>
          <a:sx n="78" d="100"/>
          <a:sy n="78" d="100"/>
        </p:scale>
        <p:origin x="-2478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Libro1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SimuLAN\Ejemplos\historicos_wxs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Hoja1!$K$1</c:f>
              <c:strCache>
                <c:ptCount val="1"/>
                <c:pt idx="0">
                  <c:v>Porcentaje</c:v>
                </c:pt>
              </c:strCache>
            </c:strRef>
          </c:tx>
          <c:dPt>
            <c:idx val="6"/>
            <c:spPr>
              <a:solidFill>
                <a:schemeClr val="accent6">
                  <a:lumMod val="65000"/>
                </a:schemeClr>
              </a:solidFill>
            </c:spPr>
          </c:dPt>
          <c:dPt>
            <c:idx val="7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8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dLbl>
              <c:idx val="0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  <a:effectLst/>
                    </a:defRPr>
                  </a:pPr>
                  <a:endParaRPr lang="es-CL"/>
                </a:p>
              </c:txPr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dLbl>
              <c:idx val="8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numFmt formatCode="0.00%" sourceLinked="0"/>
            <c:showPercent val="1"/>
            <c:showLeaderLines val="1"/>
          </c:dLbls>
          <c:cat>
            <c:strRef>
              <c:f>Hoja1!$J$2:$J$10</c:f>
              <c:strCache>
                <c:ptCount val="9"/>
                <c:pt idx="0">
                  <c:v>Reaccionario</c:v>
                </c:pt>
                <c:pt idx="1">
                  <c:v>HBT</c:v>
                </c:pt>
                <c:pt idx="2">
                  <c:v>ATC terrestre</c:v>
                </c:pt>
                <c:pt idx="3">
                  <c:v>Mantenimiento</c:v>
                </c:pt>
                <c:pt idx="4">
                  <c:v>Tripulación</c:v>
                </c:pt>
                <c:pt idx="5">
                  <c:v>Clima</c:v>
                </c:pt>
                <c:pt idx="6">
                  <c:v>Acomodación pasajeros a bordo</c:v>
                </c:pt>
                <c:pt idx="7">
                  <c:v>Espera de pasajeros en conexión</c:v>
                </c:pt>
                <c:pt idx="8">
                  <c:v>Otros</c:v>
                </c:pt>
              </c:strCache>
            </c:strRef>
          </c:cat>
          <c:val>
            <c:numRef>
              <c:f>Hoja1!$K$2:$K$10</c:f>
              <c:numCache>
                <c:formatCode>0.00%</c:formatCode>
                <c:ptCount val="9"/>
                <c:pt idx="0">
                  <c:v>0.39080000000000037</c:v>
                </c:pt>
                <c:pt idx="1">
                  <c:v>0.11340000000000006</c:v>
                </c:pt>
                <c:pt idx="2">
                  <c:v>8.6800000000000044E-2</c:v>
                </c:pt>
                <c:pt idx="3">
                  <c:v>7.380000000000006E-2</c:v>
                </c:pt>
                <c:pt idx="4">
                  <c:v>5.4000000000000041E-2</c:v>
                </c:pt>
                <c:pt idx="5">
                  <c:v>3.6000000000000025E-2</c:v>
                </c:pt>
                <c:pt idx="6">
                  <c:v>3.1600000000000031E-2</c:v>
                </c:pt>
                <c:pt idx="7">
                  <c:v>2.4900000000000002E-2</c:v>
                </c:pt>
                <c:pt idx="8">
                  <c:v>0.18870000000000017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L"/>
  <c:chart>
    <c:plotArea>
      <c:layout/>
      <c:scatterChart>
        <c:scatterStyle val="smoothMarker"/>
        <c:ser>
          <c:idx val="0"/>
          <c:order val="0"/>
          <c:marker>
            <c:symbol val="none"/>
          </c:marker>
          <c:xVal>
            <c:numRef>
              <c:f>SCL!$B$1:$Y$1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CL!$B$7:$Y$7</c:f>
              <c:numCache>
                <c:formatCode>0%</c:formatCode>
                <c:ptCount val="2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0.00%">
                  <c:v>5.586592178770949E-3</c:v>
                </c:pt>
                <c:pt idx="4" formatCode="0.00%">
                  <c:v>5.5555555555555558E-3</c:v>
                </c:pt>
                <c:pt idx="5">
                  <c:v>0</c:v>
                </c:pt>
                <c:pt idx="6" formatCode="0.00%">
                  <c:v>1.6666666666666666E-2</c:v>
                </c:pt>
                <c:pt idx="7" formatCode="0.00%">
                  <c:v>5.5555555555555558E-3</c:v>
                </c:pt>
                <c:pt idx="8" formatCode="0.00%">
                  <c:v>2.7777777777777776E-2</c:v>
                </c:pt>
                <c:pt idx="9" formatCode="0.00%">
                  <c:v>2.2222222222222223E-2</c:v>
                </c:pt>
                <c:pt idx="10" formatCode="0.00%">
                  <c:v>1.1111111111111112E-2</c:v>
                </c:pt>
                <c:pt idx="11" formatCode="0.00%">
                  <c:v>1.6666666666666666E-2</c:v>
                </c:pt>
                <c:pt idx="12" formatCode="0.00%">
                  <c:v>1.1111111111111112E-2</c:v>
                </c:pt>
                <c:pt idx="13" formatCode="0.00%">
                  <c:v>1.1111111111111112E-2</c:v>
                </c:pt>
                <c:pt idx="14" formatCode="0.00%">
                  <c:v>5.5555555555555558E-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yVal>
          <c:smooth val="1"/>
        </c:ser>
        <c:axId val="73049216"/>
        <c:axId val="73382912"/>
      </c:scatterChart>
      <c:valAx>
        <c:axId val="73049216"/>
        <c:scaling>
          <c:orientation val="minMax"/>
          <c:max val="24"/>
        </c:scaling>
        <c:axPos val="b"/>
        <c:numFmt formatCode="0" sourceLinked="1"/>
        <c:tickLblPos val="nextTo"/>
        <c:crossAx val="73382912"/>
        <c:crosses val="autoZero"/>
        <c:crossBetween val="midCat"/>
        <c:majorUnit val="3"/>
      </c:valAx>
      <c:valAx>
        <c:axId val="73382912"/>
        <c:scaling>
          <c:orientation val="minMax"/>
          <c:min val="0"/>
        </c:scaling>
        <c:axPos val="l"/>
        <c:majorGridlines/>
        <c:numFmt formatCode="0.0%" sourceLinked="0"/>
        <c:tickLblPos val="nextTo"/>
        <c:crossAx val="73049216"/>
        <c:crosses val="autoZero"/>
        <c:crossBetween val="midCat"/>
        <c:majorUnit val="5.0000000000000027E-3"/>
        <c:minorUnit val="5.0000000000000027E-3"/>
      </c:valAx>
    </c:plotArea>
    <c:plotVisOnly val="1"/>
  </c:chart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8B4CB-A846-42C2-B498-693F21624C37}" type="datetimeFigureOut">
              <a:rPr lang="es-CL" smtClean="0"/>
              <a:pPr/>
              <a:t>08-11-2010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96AA8F-A80C-47D4-A71B-5E4729FAA29D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F1B6228-E697-4786-80BC-3F043071FEE2}" type="datetimeFigureOut">
              <a:rPr lang="es-ES"/>
              <a:pPr>
                <a:defRPr/>
              </a:pPr>
              <a:t>08/11/2010</a:t>
            </a:fld>
            <a:endParaRPr lang="es-E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D570A1FA-0765-4FB4-9C69-955337D4FC0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1 MIN</a:t>
            </a:r>
            <a:endParaRPr lang="es-CL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Capacidad</a:t>
            </a:r>
          </a:p>
          <a:p>
            <a:r>
              <a:rPr lang="es-CL" dirty="0" smtClean="0"/>
              <a:t>Airbus 340: 295-335-3</a:t>
            </a:r>
            <a:r>
              <a:rPr lang="es-CL" baseline="0" dirty="0" smtClean="0"/>
              <a:t> 75</a:t>
            </a:r>
          </a:p>
          <a:p>
            <a:r>
              <a:rPr lang="es-CL" baseline="0" dirty="0" smtClean="0"/>
              <a:t>Airbus 320:  148-180</a:t>
            </a:r>
          </a:p>
          <a:p>
            <a:r>
              <a:rPr lang="es-CL" baseline="0" dirty="0" smtClean="0"/>
              <a:t>Airbus 319: 124-156</a:t>
            </a:r>
          </a:p>
          <a:p>
            <a:r>
              <a:rPr lang="es-CL" baseline="0" dirty="0" smtClean="0"/>
              <a:t>Airbus 318:  100-117</a:t>
            </a:r>
          </a:p>
          <a:p>
            <a:r>
              <a:rPr lang="es-CL" baseline="0" dirty="0" smtClean="0"/>
              <a:t>Boeing 767: 218-269-350</a:t>
            </a:r>
            <a:endParaRPr lang="es-CL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Tramos</a:t>
            </a:r>
          </a:p>
          <a:p>
            <a:r>
              <a:rPr lang="es-CL" dirty="0" smtClean="0"/>
              <a:t>Holguras</a:t>
            </a:r>
          </a:p>
          <a:p>
            <a:r>
              <a:rPr lang="es-CL" dirty="0" err="1" smtClean="0"/>
              <a:t>Turn</a:t>
            </a:r>
            <a:r>
              <a:rPr lang="es-CL" dirty="0" smtClean="0"/>
              <a:t>- </a:t>
            </a:r>
            <a:r>
              <a:rPr lang="es-CL" dirty="0" err="1" smtClean="0"/>
              <a:t>Around</a:t>
            </a:r>
            <a:endParaRPr lang="es-CL" dirty="0" smtClean="0"/>
          </a:p>
          <a:p>
            <a:endParaRPr lang="es-CL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</a:t>
            </a:r>
            <a:r>
              <a:rPr lang="es-CL" baseline="0" dirty="0" smtClean="0"/>
              <a:t> aviones</a:t>
            </a:r>
          </a:p>
          <a:p>
            <a:r>
              <a:rPr lang="es-CL" baseline="0" dirty="0" smtClean="0"/>
              <a:t> - atrasado</a:t>
            </a:r>
          </a:p>
          <a:p>
            <a:r>
              <a:rPr lang="es-CL" baseline="0" dirty="0" smtClean="0"/>
              <a:t> - no atrasado</a:t>
            </a:r>
          </a:p>
          <a:p>
            <a:r>
              <a:rPr lang="es-CL" baseline="0" dirty="0" smtClean="0"/>
              <a:t>Tiempos: </a:t>
            </a:r>
            <a:r>
              <a:rPr lang="es-CL" baseline="0" dirty="0" err="1" smtClean="0"/>
              <a:t>linea</a:t>
            </a:r>
            <a:r>
              <a:rPr lang="es-CL" baseline="0" dirty="0" smtClean="0"/>
              <a:t> temporal (parte de un día)</a:t>
            </a:r>
          </a:p>
          <a:p>
            <a:r>
              <a:rPr lang="es-CL" baseline="0" dirty="0" smtClean="0"/>
              <a:t>Tiempo actual</a:t>
            </a:r>
          </a:p>
          <a:p>
            <a:endParaRPr lang="es-CL" baseline="0" dirty="0" smtClean="0"/>
          </a:p>
          <a:p>
            <a:r>
              <a:rPr lang="es-CL" baseline="0" dirty="0" smtClean="0"/>
              <a:t>Se busca coincidencia de origen y destino, que produzca ganancia de minutos</a:t>
            </a:r>
            <a:endParaRPr lang="es-CL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 factible de rotar…</a:t>
            </a:r>
          </a:p>
          <a:p>
            <a:r>
              <a:rPr lang="es-CL" dirty="0" smtClean="0"/>
              <a:t>Profundidad= 2</a:t>
            </a:r>
            <a:endParaRPr lang="es-CL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Segundo tramo factible de rotar con el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</a:t>
            </a:r>
            <a:r>
              <a:rPr lang="es-CL" baseline="0" dirty="0" smtClean="0"/>
              <a:t> de B  se asignan a </a:t>
            </a:r>
            <a:r>
              <a:rPr lang="es-CL" baseline="0" dirty="0" err="1" smtClean="0"/>
              <a:t>A</a:t>
            </a:r>
            <a:endParaRPr lang="es-CL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 de A (atrasados)</a:t>
            </a:r>
            <a:r>
              <a:rPr lang="es-CL" baseline="0" dirty="0" smtClean="0"/>
              <a:t> se asignan a B</a:t>
            </a:r>
            <a:endParaRPr lang="es-CL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sultado:</a:t>
            </a:r>
          </a:p>
          <a:p>
            <a:pPr>
              <a:buFontTx/>
              <a:buChar char="-"/>
            </a:pPr>
            <a:r>
              <a:rPr lang="es-CL" dirty="0" smtClean="0"/>
              <a:t>Se elimina el atraso en los tramos</a:t>
            </a:r>
            <a:r>
              <a:rPr lang="es-CL" baseline="0" dirty="0" smtClean="0"/>
              <a:t> antes rojos… 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Los 2 reasignados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El posterior SCL-EZE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2 MIN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n precedentes en LAN..</a:t>
            </a:r>
            <a:r>
              <a:rPr lang="es-CL" baseline="0" dirty="0" smtClean="0"/>
              <a:t> Todo manual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dirty="0" smtClean="0"/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mula la operación de itinerarios de vuelo:</a:t>
            </a:r>
            <a:r>
              <a:rPr lang="es-CL" baseline="0" dirty="0" smtClean="0"/>
              <a:t> no considera ni pasajeros ni tripulantes</a:t>
            </a:r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baseline="0" dirty="0" smtClean="0"/>
              <a:t>Diseño depende de red, flotas, competencia, pronóstico de demanda, bases de </a:t>
            </a:r>
            <a:r>
              <a:rPr lang="es-CL" baseline="0" dirty="0" err="1" smtClean="0"/>
              <a:t>mantto</a:t>
            </a:r>
            <a:r>
              <a:rPr lang="es-CL" baseline="0" dirty="0" smtClean="0"/>
              <a:t> y tripulaciones, plan estratégico de la compañía.</a:t>
            </a:r>
          </a:p>
          <a:p>
            <a:endParaRPr lang="es-CL" baseline="0" dirty="0" smtClean="0"/>
          </a:p>
          <a:p>
            <a:r>
              <a:rPr lang="es-CL" baseline="0" dirty="0" smtClean="0"/>
              <a:t>Asignación de matrículas: considera </a:t>
            </a:r>
            <a:r>
              <a:rPr lang="es-CL" baseline="0" dirty="0" err="1" smtClean="0"/>
              <a:t>mentenimientos</a:t>
            </a:r>
            <a:endParaRPr lang="es-C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traso reaccionario</a:t>
            </a:r>
          </a:p>
          <a:p>
            <a:r>
              <a:rPr lang="es-CL" dirty="0" smtClean="0"/>
              <a:t>Nombrar Efecto Dominó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3"/>
            <a:r>
              <a:rPr lang="es-CL" dirty="0" smtClean="0"/>
              <a:t>Robustez: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1. Minimizar el costo esperado de operar el itinerario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2. Minimizar el atraso y disrupciones de pasajeros o avione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3. Ante una disrupción, recuperar fácilmente el avión, su tripulación y/o sus pasajero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4. Prevenir la propagación de atrasos reaccionarios.</a:t>
            </a:r>
          </a:p>
          <a:p>
            <a:pPr lvl="3"/>
            <a:endParaRPr lang="es-CL" dirty="0" smtClean="0"/>
          </a:p>
          <a:p>
            <a:pPr lvl="3"/>
            <a:r>
              <a:rPr lang="es-CL" dirty="0" smtClean="0"/>
              <a:t>Muy distantes</a:t>
            </a:r>
          </a:p>
          <a:p>
            <a:pPr lvl="3"/>
            <a:r>
              <a:rPr lang="es-CL" dirty="0" smtClean="0"/>
              <a:t>Retroalimentación lenta y sin fundamento</a:t>
            </a:r>
            <a:r>
              <a:rPr lang="es-CL" i="1" dirty="0" smtClean="0"/>
              <a:t>	</a:t>
            </a:r>
          </a:p>
          <a:p>
            <a:r>
              <a:rPr lang="es-CL" dirty="0" smtClean="0"/>
              <a:t>Calidad de servicio:</a:t>
            </a:r>
          </a:p>
          <a:p>
            <a:pPr marL="228600" indent="-228600">
              <a:buAutoNum type="arabicPeriod"/>
            </a:pPr>
            <a:r>
              <a:rPr lang="es-CL" dirty="0" smtClean="0"/>
              <a:t>Atención al cliente</a:t>
            </a:r>
          </a:p>
          <a:p>
            <a:pPr marL="228600" indent="-228600">
              <a:buAutoNum type="arabicPeriod"/>
            </a:pPr>
            <a:r>
              <a:rPr lang="es-CL" dirty="0" smtClean="0"/>
              <a:t>Servicio</a:t>
            </a:r>
            <a:r>
              <a:rPr lang="es-CL" baseline="0" dirty="0" smtClean="0"/>
              <a:t> a bordo</a:t>
            </a:r>
          </a:p>
          <a:p>
            <a:pPr marL="228600" indent="-228600">
              <a:buAutoNum type="arabicPeriod"/>
            </a:pPr>
            <a:r>
              <a:rPr lang="es-CL" baseline="0" dirty="0" smtClean="0"/>
              <a:t>Puntualidad!</a:t>
            </a:r>
            <a:endParaRPr lang="es-CL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ventos</a:t>
            </a:r>
          </a:p>
          <a:p>
            <a:r>
              <a:rPr lang="es-CL" dirty="0" smtClean="0"/>
              <a:t>Estados</a:t>
            </a:r>
          </a:p>
          <a:p>
            <a:r>
              <a:rPr lang="es-CL" dirty="0" smtClean="0"/>
              <a:t>Disrupciones:</a:t>
            </a:r>
            <a:r>
              <a:rPr lang="es-CL" baseline="0" dirty="0" smtClean="0"/>
              <a:t> donde afectan</a:t>
            </a:r>
            <a:endParaRPr lang="es-CL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HBT como reaccionario de atraso en vuelo del tramo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3048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Conector recto"/>
          <p:cNvSpPr>
            <a:spLocks noChangeShapeType="1"/>
          </p:cNvSpPr>
          <p:nvPr/>
        </p:nvSpPr>
        <p:spPr bwMode="auto">
          <a:xfrm>
            <a:off x="155448" y="2420112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A032EA1D-FAEE-4A27-BD29-C1C0F5C1043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EA8E1D-5777-4BBA-ADA4-5805528E212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7010400" y="0"/>
            <a:ext cx="2133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Conector recto"/>
          <p:cNvSpPr>
            <a:spLocks noChangeShapeType="1"/>
          </p:cNvSpPr>
          <p:nvPr/>
        </p:nvSpPr>
        <p:spPr bwMode="auto">
          <a:xfrm rot="5400000">
            <a:off x="4021836" y="3278124"/>
            <a:ext cx="6245352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6839712" y="2925763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6934200" y="3020251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15912" y="3009901"/>
            <a:ext cx="457200" cy="441325"/>
          </a:xfrm>
        </p:spPr>
        <p:txBody>
          <a:bodyPr/>
          <a:lstStyle/>
          <a:p>
            <a:pPr>
              <a:defRPr/>
            </a:pPr>
            <a:fld id="{50E7B4FC-1EB5-40DC-B707-96A31D638D5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553200" cy="5821366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391400" y="304801"/>
            <a:ext cx="1447800" cy="5851525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61688" y="1026372"/>
            <a:ext cx="457200" cy="441325"/>
          </a:xfrm>
        </p:spPr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1905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152400" y="2286000"/>
            <a:ext cx="8833104" cy="304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5448" y="142352"/>
            <a:ext cx="8833104" cy="2139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68426" y="2743200"/>
            <a:ext cx="6480174" cy="1673225"/>
          </a:xfrm>
        </p:spPr>
        <p:txBody>
          <a:bodyPr anchor="t"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152400" y="2438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B9C215A0-7F63-41D8-AB21-6E7609FAF12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533400"/>
            <a:ext cx="7772400" cy="1524000"/>
          </a:xfrm>
        </p:spPr>
        <p:txBody>
          <a:bodyPr anchor="b"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91200" y="640994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CA7CFC-2D26-4C86-ADC7-142FEE37EC9F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 flipV="1">
            <a:off x="4563080" y="1575652"/>
            <a:ext cx="8921" cy="4819557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Marcador de contenido"/>
          <p:cNvSpPr>
            <a:spLocks noGrp="1"/>
          </p:cNvSpPr>
          <p:nvPr>
            <p:ph sz="half" idx="1"/>
          </p:nvPr>
        </p:nvSpPr>
        <p:spPr>
          <a:xfrm>
            <a:off x="301752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2" name="11 Marcador de contenido"/>
          <p:cNvSpPr>
            <a:spLocks noGrp="1"/>
          </p:cNvSpPr>
          <p:nvPr>
            <p:ph sz="half" idx="2"/>
          </p:nvPr>
        </p:nvSpPr>
        <p:spPr>
          <a:xfrm>
            <a:off x="4800600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onector recto"/>
          <p:cNvSpPr>
            <a:spLocks noChangeShapeType="1"/>
          </p:cNvSpPr>
          <p:nvPr/>
        </p:nvSpPr>
        <p:spPr bwMode="auto">
          <a:xfrm flipV="1">
            <a:off x="4572000" y="2200275"/>
            <a:ext cx="0" cy="4187952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white">
          <a:xfrm>
            <a:off x="0" y="0"/>
            <a:ext cx="9144000" cy="1447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152400" y="1371600"/>
            <a:ext cx="8833104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5923" y="6391656"/>
            <a:ext cx="8833104" cy="31089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4040188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91330" y="1524000"/>
            <a:ext cx="4041775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4800" y="6409944"/>
            <a:ext cx="358140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15" name="14 Conector recto"/>
          <p:cNvSpPr>
            <a:spLocks noChangeShapeType="1"/>
          </p:cNvSpPr>
          <p:nvPr/>
        </p:nvSpPr>
        <p:spPr bwMode="auto">
          <a:xfrm>
            <a:off x="152400" y="128016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4" name="23 Marcador de contenido"/>
          <p:cNvSpPr>
            <a:spLocks noGrp="1"/>
          </p:cNvSpPr>
          <p:nvPr>
            <p:ph sz="quarter" idx="2"/>
          </p:nvPr>
        </p:nvSpPr>
        <p:spPr>
          <a:xfrm>
            <a:off x="301752" y="2471383"/>
            <a:ext cx="4041648" cy="3818404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contenido"/>
          <p:cNvSpPr>
            <a:spLocks noGrp="1"/>
          </p:cNvSpPr>
          <p:nvPr>
            <p:ph sz="quarter" idx="4"/>
          </p:nvPr>
        </p:nvSpPr>
        <p:spPr>
          <a:xfrm>
            <a:off x="4800600" y="2471383"/>
            <a:ext cx="4038600" cy="3822192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5" name="24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42416"/>
            <a:ext cx="457200" cy="4413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3C1858B-2F9F-46C6-8A1A-3547401FC15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3" name="22 Título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36020"/>
            <a:ext cx="457200" cy="441325"/>
          </a:xfrm>
        </p:spPr>
        <p:txBody>
          <a:bodyPr/>
          <a:lstStyle/>
          <a:p>
            <a:pPr>
              <a:defRPr/>
            </a:pPr>
            <a:fld id="{F89942A3-BBD4-4136-9347-17CFF1D4E163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6" name="5 Rectángulo"/>
          <p:cNvSpPr>
            <a:spLocks noChangeArrowheads="1"/>
          </p:cNvSpPr>
          <p:nvPr/>
        </p:nvSpPr>
        <p:spPr bwMode="auto">
          <a:xfrm>
            <a:off x="152400" y="158496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267200" y="6324600"/>
            <a:ext cx="609600" cy="44132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188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3" name="12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914400"/>
            <a:ext cx="23622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381000" y="1981200"/>
            <a:ext cx="23622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9" name="8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Marcador de contenido"/>
          <p:cNvSpPr>
            <a:spLocks noGrp="1"/>
          </p:cNvSpPr>
          <p:nvPr>
            <p:ph sz="quarter" idx="1"/>
          </p:nvPr>
        </p:nvSpPr>
        <p:spPr>
          <a:xfrm>
            <a:off x="3124200" y="685800"/>
            <a:ext cx="5638800" cy="54102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F681BB13-5A4D-4347-9ACB-584364CCFD1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38328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175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2" name="11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/>
          <a:p>
            <a:pPr>
              <a:defRPr/>
            </a:pPr>
            <a:fld id="{43D987B3-72BE-45D6-918E-F2AB232C230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88152" y="640498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584448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3933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5791200" y="6404984"/>
            <a:ext cx="3044952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0" name="9 Conector recto"/>
          <p:cNvSpPr>
            <a:spLocks noChangeShapeType="1"/>
          </p:cNvSpPr>
          <p:nvPr/>
        </p:nvSpPr>
        <p:spPr bwMode="auto">
          <a:xfrm>
            <a:off x="152400" y="1276743"/>
            <a:ext cx="8833104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4343400" y="1040174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77D9D1A8-81EF-4A3A-902E-4FC960F11525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8534400" cy="459943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/>
  <p:txStyles>
    <p:titleStyle>
      <a:lvl1pPr algn="ctr" rtl="0" eaLnBrk="1" latinLnBrk="0" hangingPunct="1">
        <a:spcBef>
          <a:spcPct val="0"/>
        </a:spcBef>
        <a:buNone/>
        <a:defRPr kumimoji="0" sz="3300" kern="1200">
          <a:solidFill>
            <a:schemeClr val="accent3">
              <a:shade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"/>
        <a:buChar char=""/>
        <a:defRPr kumimoji="0"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ct val="20000"/>
        </a:spcBef>
        <a:buClr>
          <a:schemeClr val="accent3"/>
        </a:buClr>
        <a:buSzPct val="75000"/>
        <a:buFont typeface="Wingdings 2"/>
        <a:buChar char="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ct val="20000"/>
        </a:spcBef>
        <a:buClr>
          <a:schemeClr val="accent4"/>
        </a:buClr>
        <a:buSzPct val="70000"/>
        <a:buFont typeface="Wingdings"/>
        <a:buChar char="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ct val="20000"/>
        </a:spcBef>
        <a:buClr>
          <a:schemeClr val="accent5"/>
        </a:buClr>
        <a:buFontTx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emf"/><Relationship Id="rId4" Type="http://schemas.openxmlformats.org/officeDocument/2006/relationships/slide" Target="slide1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s-ES" cap="none" spc="0" dirty="0" smtClean="0"/>
              <a:t>Presentación </a:t>
            </a:r>
            <a:r>
              <a:rPr lang="es-ES" cap="none" spc="0" dirty="0" smtClean="0"/>
              <a:t>para ICS-2212 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Modelos Estocásticos</a:t>
            </a:r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ofesor Pedro </a:t>
            </a:r>
            <a:r>
              <a:rPr lang="es-ES" cap="none" spc="0" dirty="0" err="1" smtClean="0"/>
              <a:t>Gazmuri</a:t>
            </a:r>
            <a:r>
              <a:rPr lang="es-ES" cap="none" spc="0" dirty="0" smtClean="0"/>
              <a:t> </a:t>
            </a:r>
            <a:r>
              <a:rPr lang="es-ES" cap="none" spc="0" dirty="0" err="1" smtClean="0"/>
              <a:t>Schleyer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esentado por:</a:t>
            </a: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09</a:t>
            </a:r>
            <a:r>
              <a:rPr lang="es-ES" cap="none" spc="0" dirty="0" smtClean="0"/>
              <a:t> </a:t>
            </a:r>
            <a:r>
              <a:rPr lang="es-ES" cap="none" spc="0" dirty="0" smtClean="0"/>
              <a:t>de </a:t>
            </a:r>
            <a:r>
              <a:rPr lang="es-ES" cap="none" spc="0" dirty="0" smtClean="0"/>
              <a:t>N</a:t>
            </a:r>
            <a:r>
              <a:rPr lang="es-ES" cap="none" spc="0" dirty="0" smtClean="0"/>
              <a:t>oviembre, </a:t>
            </a:r>
            <a:r>
              <a:rPr lang="es-ES" cap="none" spc="0" dirty="0" smtClean="0"/>
              <a:t>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s-ES" sz="4900" dirty="0" err="1" smtClean="0"/>
              <a:t>SimuLAN</a:t>
            </a: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3600" dirty="0" smtClean="0"/>
              <a:t>Simulación </a:t>
            </a:r>
            <a:r>
              <a:rPr lang="es-ES" sz="3600" dirty="0" smtClean="0"/>
              <a:t>de Itinerarios de Transporte Aéreo</a:t>
            </a:r>
            <a:endParaRPr lang="es-ES" sz="4400" dirty="0" smtClean="0"/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C:\Users\Rodolfo\Desktop\ico_simuLAN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5008" y="1000108"/>
            <a:ext cx="428628" cy="4286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Modelo </a:t>
            </a:r>
            <a:r>
              <a:rPr lang="es-CL" b="1" dirty="0" smtClean="0">
                <a:solidFill>
                  <a:srgbClr val="002060"/>
                </a:solidFill>
              </a:rPr>
              <a:t>de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</a:t>
            </a:r>
            <a:r>
              <a:rPr lang="es-CL" dirty="0" smtClean="0"/>
              <a:t>simulación</a:t>
            </a:r>
            <a:endParaRPr lang="es-CL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</a:t>
            </a:r>
            <a:r>
              <a:rPr lang="es-CL" dirty="0" smtClean="0"/>
              <a:t>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Modelación de un tramo de vuelo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0033CC"/>
                </a:solidFill>
                <a:latin typeface="+mj-lt"/>
              </a:rPr>
              <a:t>Evento									</a:t>
            </a: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Estado</a:t>
            </a:r>
          </a:p>
          <a:p>
            <a:pPr>
              <a:buNone/>
            </a:pP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FF0000"/>
                </a:solidFill>
                <a:latin typeface="+mj-lt"/>
              </a:rPr>
              <a:t>Disrupción</a:t>
            </a:r>
            <a:endParaRPr lang="es-CL" sz="1400" kern="0" dirty="0" smtClean="0">
              <a:latin typeface="+mj-lt"/>
            </a:endParaRPr>
          </a:p>
          <a:p>
            <a:endParaRPr lang="es-CL" dirty="0"/>
          </a:p>
        </p:txBody>
      </p:sp>
      <p:sp>
        <p:nvSpPr>
          <p:cNvPr id="11" name="10 Conector"/>
          <p:cNvSpPr/>
          <p:nvPr/>
        </p:nvSpPr>
        <p:spPr>
          <a:xfrm flipV="1">
            <a:off x="7500958" y="5214950"/>
            <a:ext cx="142876" cy="142876"/>
          </a:xfrm>
          <a:prstGeom prst="flowChartConnector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Conector"/>
          <p:cNvSpPr/>
          <p:nvPr/>
        </p:nvSpPr>
        <p:spPr>
          <a:xfrm flipV="1">
            <a:off x="7500958" y="5472000"/>
            <a:ext cx="142876" cy="142876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12 Conector"/>
          <p:cNvSpPr/>
          <p:nvPr/>
        </p:nvSpPr>
        <p:spPr>
          <a:xfrm flipV="1">
            <a:off x="7500958" y="5731200"/>
            <a:ext cx="142876" cy="142876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4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428596" y="2214554"/>
            <a:ext cx="8572560" cy="40005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</a:t>
            </a:r>
            <a:r>
              <a:rPr lang="es-CL" dirty="0" smtClean="0"/>
              <a:t>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Flujo base de la simulación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</a:t>
            </a:r>
            <a:endParaRPr lang="es-CL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36" y="1857364"/>
            <a:ext cx="4286280" cy="450059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</a:t>
            </a:r>
            <a:r>
              <a:rPr lang="es-CL" dirty="0" smtClean="0"/>
              <a:t>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214422"/>
            <a:ext cx="8503920" cy="4830910"/>
          </a:xfrm>
        </p:spPr>
        <p:txBody>
          <a:bodyPr>
            <a:normAutofit/>
          </a:bodyPr>
          <a:lstStyle/>
          <a:p>
            <a:r>
              <a:rPr lang="es-CL" dirty="0" smtClean="0"/>
              <a:t>Variables aleatorias de input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214282" y="1907242"/>
          <a:ext cx="8715435" cy="430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197"/>
                <a:gridCol w="1785950"/>
                <a:gridCol w="4286280"/>
                <a:gridCol w="114300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Tip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% del Total </a:t>
                      </a:r>
                      <a:endParaRPr lang="es-CL" sz="1400" dirty="0" smtClean="0"/>
                    </a:p>
                    <a:p>
                      <a:pPr algn="ctr"/>
                      <a:r>
                        <a:rPr lang="es-CL" sz="1400" dirty="0" smtClean="0"/>
                        <a:t>(ene2004 </a:t>
                      </a:r>
                      <a:r>
                        <a:rPr lang="es-CL" sz="1400" dirty="0" smtClean="0"/>
                        <a:t>– </a:t>
                      </a:r>
                      <a:r>
                        <a:rPr lang="es-CL" sz="1400" dirty="0" smtClean="0"/>
                        <a:t>mar2010)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explicativ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tribución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TC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,95%    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es,</a:t>
                      </a:r>
                      <a:r>
                        <a:rPr lang="es-CL" sz="1400" baseline="0" dirty="0" smtClean="0"/>
                        <a:t> </a:t>
                      </a:r>
                      <a:r>
                        <a:rPr lang="es-CL" sz="1400" baseline="0" dirty="0" smtClean="0"/>
                        <a:t>hora </a:t>
                      </a:r>
                      <a:r>
                        <a:rPr lang="es-CL" sz="1400" baseline="0" dirty="0" smtClean="0"/>
                        <a:t>y </a:t>
                      </a:r>
                      <a:r>
                        <a:rPr lang="es-CL" sz="1400" baseline="0" dirty="0" smtClean="0"/>
                        <a:t>aeropuerto de orige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12161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HBT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2,79%</a:t>
                      </a:r>
                      <a:r>
                        <a:rPr lang="es-CL" sz="1400" baseline="0" dirty="0" smtClean="0"/>
                        <a:t>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ramo</a:t>
                      </a:r>
                      <a:r>
                        <a:rPr lang="es-CL" sz="1400" baseline="0" dirty="0" smtClean="0"/>
                        <a:t> </a:t>
                      </a:r>
                      <a:r>
                        <a:rPr lang="es-CL" sz="1400" baseline="0" dirty="0" smtClean="0"/>
                        <a:t>y </a:t>
                      </a:r>
                      <a:r>
                        <a:rPr lang="es-CL" sz="1400" baseline="0" dirty="0" smtClean="0"/>
                        <a:t>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Norn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Cli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28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es, </a:t>
                      </a:r>
                      <a:r>
                        <a:rPr lang="es-CL" sz="1400" dirty="0" smtClean="0"/>
                        <a:t>aeropuerto</a:t>
                      </a:r>
                      <a:r>
                        <a:rPr lang="es-CL" sz="1400" baseline="0" dirty="0" smtClean="0"/>
                        <a:t> </a:t>
                      </a:r>
                      <a:r>
                        <a:rPr lang="es-CL" sz="1400" baseline="0" dirty="0" smtClean="0"/>
                        <a:t>de </a:t>
                      </a:r>
                      <a:r>
                        <a:rPr lang="es-CL" sz="1400" baseline="0" dirty="0" smtClean="0"/>
                        <a:t>origen, aeropuerto de destino</a:t>
                      </a:r>
                      <a:r>
                        <a:rPr lang="es-CL" sz="1400" baseline="0" dirty="0" smtClean="0"/>
                        <a:t>, </a:t>
                      </a:r>
                      <a:r>
                        <a:rPr lang="es-CL" sz="1400" baseline="0" dirty="0" smtClean="0"/>
                        <a:t>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antenimie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2,62%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Flota, operador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Problemas del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1,44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ripulacione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82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/A bajo al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14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/A sobre al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43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Otras causa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1,80%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dela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49,78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</a:t>
                      </a:r>
                      <a:r>
                        <a:rPr lang="es-CL" sz="1400" dirty="0" smtClean="0"/>
                        <a:t>orige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Gamma</a:t>
                      </a:r>
                      <a:endParaRPr lang="es-CL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</a:t>
            </a:r>
            <a:r>
              <a:rPr lang="es-CL" dirty="0" smtClean="0"/>
              <a:t>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4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2830646"/>
          </a:xfrm>
        </p:spPr>
        <p:txBody>
          <a:bodyPr>
            <a:noAutofit/>
          </a:bodyPr>
          <a:lstStyle/>
          <a:p>
            <a:r>
              <a:rPr lang="es-CL" sz="1800" kern="0" dirty="0" smtClean="0">
                <a:latin typeface="+mj-lt"/>
              </a:rPr>
              <a:t>Modelo climático</a:t>
            </a:r>
          </a:p>
          <a:p>
            <a:pPr lvl="1"/>
            <a:r>
              <a:rPr lang="es-CL" sz="1400" kern="0" dirty="0" smtClean="0">
                <a:latin typeface="+mj-lt"/>
              </a:rPr>
              <a:t>Integra dos fuentes de información</a:t>
            </a:r>
          </a:p>
          <a:p>
            <a:pPr lvl="2"/>
            <a:r>
              <a:rPr lang="es-CL" sz="1200" kern="0" dirty="0" smtClean="0">
                <a:latin typeface="+mj-lt"/>
              </a:rPr>
              <a:t>Curvas históricas de visibilidad por aeropuerto.</a:t>
            </a:r>
          </a:p>
          <a:p>
            <a:pPr lvl="3"/>
            <a:r>
              <a:rPr lang="es-CL" sz="1200" kern="0" dirty="0" smtClean="0">
                <a:latin typeface="+mj-lt"/>
              </a:rPr>
              <a:t>Por: mes, aeropuerto, cada 1 hora.</a:t>
            </a:r>
          </a:p>
          <a:p>
            <a:pPr lvl="3"/>
            <a:r>
              <a:rPr lang="es-CL" sz="1200" kern="0" dirty="0" smtClean="0">
                <a:latin typeface="+mj-lt"/>
              </a:rPr>
              <a:t>Genera atraso progresivamente en cada hora con Uniforme(0,1)</a:t>
            </a:r>
          </a:p>
          <a:p>
            <a:pPr lvl="2"/>
            <a:r>
              <a:rPr lang="es-CL" sz="1200" kern="0" dirty="0" smtClean="0">
                <a:latin typeface="+mj-lt"/>
              </a:rPr>
              <a:t>Información histórica de atrasos.</a:t>
            </a:r>
          </a:p>
          <a:p>
            <a:pPr lvl="3"/>
            <a:r>
              <a:rPr lang="es-CL" sz="1200" kern="0" dirty="0" smtClean="0">
                <a:latin typeface="+mj-lt"/>
              </a:rPr>
              <a:t>Por: mes, aeropuerto, cada 6 horas.</a:t>
            </a:r>
            <a:endParaRPr lang="es-CL" sz="1200" kern="0" dirty="0" smtClean="0">
              <a:latin typeface="+mj-lt"/>
            </a:endParaRPr>
          </a:p>
          <a:p>
            <a:pPr lvl="3"/>
            <a:r>
              <a:rPr lang="es-CL" sz="1200" kern="0" dirty="0" smtClean="0">
                <a:latin typeface="+mj-lt"/>
              </a:rPr>
              <a:t>Probabilidad   </a:t>
            </a:r>
            <a:r>
              <a:rPr lang="es-CL" sz="1200" kern="0" dirty="0" smtClean="0">
                <a:latin typeface="+mj-lt"/>
                <a:sym typeface="Symbol"/>
              </a:rPr>
              <a:t></a:t>
            </a:r>
            <a:r>
              <a:rPr lang="es-CL" sz="1200" kern="0" dirty="0" smtClean="0">
                <a:latin typeface="+mj-lt"/>
              </a:rPr>
              <a:t> Uniforme(0,1)</a:t>
            </a:r>
          </a:p>
          <a:p>
            <a:pPr lvl="3"/>
            <a:r>
              <a:rPr lang="es-CL" sz="1200" kern="0" dirty="0" smtClean="0">
                <a:latin typeface="+mj-lt"/>
              </a:rPr>
              <a:t>Minutos de atraso </a:t>
            </a:r>
            <a:r>
              <a:rPr lang="es-CL" sz="1050" kern="0" dirty="0" smtClean="0">
                <a:sym typeface="Symbol"/>
              </a:rPr>
              <a:t> </a:t>
            </a:r>
            <a:r>
              <a:rPr lang="es-CL" sz="1200" kern="0" dirty="0" err="1" smtClean="0">
                <a:latin typeface="+mj-lt"/>
              </a:rPr>
              <a:t>Lognornal</a:t>
            </a:r>
            <a:r>
              <a:rPr lang="es-CL" sz="1200" kern="0" dirty="0" smtClean="0">
                <a:latin typeface="+mj-lt"/>
              </a:rPr>
              <a:t>( µ,</a:t>
            </a:r>
            <a:r>
              <a:rPr lang="el-GR" sz="1200" kern="0" dirty="0" smtClean="0">
                <a:latin typeface="+mj-lt"/>
              </a:rPr>
              <a:t>σ</a:t>
            </a:r>
            <a:r>
              <a:rPr lang="es-CL" sz="1200" kern="0" dirty="0" smtClean="0">
                <a:latin typeface="+mj-lt"/>
              </a:rPr>
              <a:t> ).</a:t>
            </a:r>
            <a:endParaRPr lang="es-CL" sz="1400" kern="0" dirty="0" smtClean="0">
              <a:latin typeface="+mj-lt"/>
            </a:endParaRPr>
          </a:p>
          <a:p>
            <a:pPr lvl="1"/>
            <a:r>
              <a:rPr lang="es-CL" sz="1400" kern="0" dirty="0" smtClean="0">
                <a:latin typeface="+mj-lt"/>
              </a:rPr>
              <a:t>Estado del tiempo es independiente de la operación</a:t>
            </a:r>
          </a:p>
          <a:p>
            <a:pPr lvl="1"/>
            <a:r>
              <a:rPr lang="es-CL" sz="1400" kern="0" dirty="0" smtClean="0">
                <a:latin typeface="+mj-lt"/>
              </a:rPr>
              <a:t>Ejempl</a:t>
            </a:r>
            <a:r>
              <a:rPr lang="es-CL" sz="1400" kern="0" dirty="0" smtClean="0">
                <a:latin typeface="+mj-lt"/>
              </a:rPr>
              <a:t>o para SCL, mes de junio:</a:t>
            </a:r>
            <a:r>
              <a:rPr lang="es-CL" sz="1400" kern="0" dirty="0" smtClean="0">
                <a:latin typeface="+mj-lt"/>
              </a:rPr>
              <a:t>	</a:t>
            </a:r>
            <a:endParaRPr lang="es-CL" sz="1400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14" name="3 Gráfico"/>
          <p:cNvGraphicFramePr/>
          <p:nvPr/>
        </p:nvGraphicFramePr>
        <p:xfrm>
          <a:off x="285720" y="4357694"/>
          <a:ext cx="3714776" cy="1885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19 Conector recto"/>
          <p:cNvCxnSpPr/>
          <p:nvPr/>
        </p:nvCxnSpPr>
        <p:spPr>
          <a:xfrm rot="5400000" flipH="1" flipV="1">
            <a:off x="3465505" y="5464189"/>
            <a:ext cx="17859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22 Tabla"/>
          <p:cNvGraphicFramePr>
            <a:graphicFrameLocks noGrp="1"/>
          </p:cNvGraphicFramePr>
          <p:nvPr/>
        </p:nvGraphicFramePr>
        <p:xfrm>
          <a:off x="4714876" y="4500570"/>
          <a:ext cx="3643338" cy="114301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871310"/>
                <a:gridCol w="913469"/>
                <a:gridCol w="874823"/>
                <a:gridCol w="983736"/>
              </a:tblGrid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Hora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Probabilidad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Media (min)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Desvest (min)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0:00 - 6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5,14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3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6:00 - 12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9,83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6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8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12:00 - 18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,92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84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8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18:00 - 24:00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1,14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48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53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</a:t>
            </a:r>
            <a:r>
              <a:rPr lang="es-CL" dirty="0" smtClean="0"/>
              <a:t>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>
                <a:solidFill>
                  <a:srgbClr val="002060"/>
                </a:solidFill>
              </a:rPr>
              <a:t>Software de simulación </a:t>
            </a:r>
            <a:r>
              <a:rPr lang="es-CL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6</a:t>
            </a:fld>
            <a:endParaRPr lang="es-ES"/>
          </a:p>
        </p:txBody>
      </p:sp>
      <p:sp>
        <p:nvSpPr>
          <p:cNvPr id="26626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0" y="1527175"/>
            <a:ext cx="8504238" cy="4572000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endParaRPr lang="es-CL" dirty="0" smtClean="0"/>
          </a:p>
          <a:p>
            <a:pPr>
              <a:buFont typeface="Wingdings" pitchFamily="2" charset="2"/>
              <a:buNone/>
            </a:pPr>
            <a:endParaRPr lang="es-CL" dirty="0" smtClean="0"/>
          </a:p>
        </p:txBody>
      </p:sp>
      <p:pic>
        <p:nvPicPr>
          <p:cNvPr id="4" name="Picture 5" descr="C:\Users\Rodolfo\Desktop\clipart ppt\question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92" y="4000504"/>
            <a:ext cx="2357454" cy="235745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s-ES" cap="none" spc="0" dirty="0" smtClean="0"/>
              <a:t>Presentación </a:t>
            </a:r>
            <a:r>
              <a:rPr lang="es-ES" cap="none" spc="0" dirty="0" smtClean="0"/>
              <a:t>para ICS-2212 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Modelos Estocásticos</a:t>
            </a:r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ofesor Pedro </a:t>
            </a:r>
            <a:r>
              <a:rPr lang="es-ES" cap="none" spc="0" dirty="0" err="1" smtClean="0"/>
              <a:t>Gazmuri</a:t>
            </a:r>
            <a:r>
              <a:rPr lang="es-ES" cap="none" spc="0" dirty="0" smtClean="0"/>
              <a:t> </a:t>
            </a:r>
            <a:r>
              <a:rPr lang="es-ES" cap="none" spc="0" dirty="0" err="1" smtClean="0"/>
              <a:t>Schleyer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esentado por:</a:t>
            </a: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09</a:t>
            </a:r>
            <a:r>
              <a:rPr lang="es-ES" cap="none" spc="0" dirty="0" smtClean="0"/>
              <a:t> </a:t>
            </a:r>
            <a:r>
              <a:rPr lang="es-ES" cap="none" spc="0" dirty="0" smtClean="0"/>
              <a:t>de </a:t>
            </a:r>
            <a:r>
              <a:rPr lang="es-ES" cap="none" spc="0" dirty="0" smtClean="0"/>
              <a:t>N</a:t>
            </a:r>
            <a:r>
              <a:rPr lang="es-ES" cap="none" spc="0" dirty="0" smtClean="0"/>
              <a:t>oviembre, </a:t>
            </a:r>
            <a:r>
              <a:rPr lang="es-ES" cap="none" spc="0" dirty="0" smtClean="0"/>
              <a:t>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s-ES" sz="4900" dirty="0" err="1" smtClean="0"/>
              <a:t>SimuLAN</a:t>
            </a: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3600" dirty="0" smtClean="0"/>
              <a:t>Simulación </a:t>
            </a:r>
            <a:r>
              <a:rPr lang="es-ES" sz="3600" dirty="0" smtClean="0"/>
              <a:t>de Itinerarios de Transporte Aéreo</a:t>
            </a:r>
            <a:endParaRPr lang="es-ES" sz="4400" dirty="0" smtClean="0"/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C:\Users\Rodolfo\Desktop\ico_simuLAN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5008" y="1000108"/>
            <a:ext cx="428628" cy="4286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10" name="9 Marcador de contenido"/>
          <p:cNvSpPr>
            <a:spLocks noGrp="1"/>
          </p:cNvSpPr>
          <p:nvPr>
            <p:ph sz="quarter" idx="1"/>
          </p:nvPr>
        </p:nvSpPr>
        <p:spPr>
          <a:xfrm>
            <a:off x="301752" y="1357298"/>
            <a:ext cx="8503920" cy="4572000"/>
          </a:xfrm>
        </p:spPr>
        <p:txBody>
          <a:bodyPr/>
          <a:lstStyle/>
          <a:p>
            <a:r>
              <a:rPr lang="es-CL" dirty="0" smtClean="0"/>
              <a:t>Flota de LAN (2008)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escripción del problema</a:t>
            </a:r>
            <a:endParaRPr kumimoji="0" lang="es-CL" sz="33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6" name="Picture 2" descr="C:\Users\Rodolfo\Pictures\TABLA DE FLOTAS LAN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1857364"/>
            <a:ext cx="7215209" cy="4502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2" descr="C:\Users\Rodolfo\Pictures\arp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89" y="2144685"/>
            <a:ext cx="8572529" cy="3570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Elipse"/>
          <p:cNvSpPr/>
          <p:nvPr/>
        </p:nvSpPr>
        <p:spPr>
          <a:xfrm>
            <a:off x="2786063" y="4714875"/>
            <a:ext cx="571500" cy="3571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9" name="8 Conector recto de flecha"/>
          <p:cNvCxnSpPr>
            <a:stCxn id="7" idx="4"/>
            <a:endCxn id="11" idx="0"/>
          </p:cNvCxnSpPr>
          <p:nvPr/>
        </p:nvCxnSpPr>
        <p:spPr>
          <a:xfrm rot="5400000">
            <a:off x="2716192" y="5427663"/>
            <a:ext cx="711222" cy="2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1571604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Vuelo 337, entre Antofagasta y Santiago</a:t>
            </a:r>
          </a:p>
        </p:txBody>
      </p:sp>
      <p:sp>
        <p:nvSpPr>
          <p:cNvPr id="13" name="12 Elipse"/>
          <p:cNvSpPr/>
          <p:nvPr/>
        </p:nvSpPr>
        <p:spPr>
          <a:xfrm>
            <a:off x="1714500" y="5068887"/>
            <a:ext cx="785813" cy="4286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4" name="13 Conector recto de flecha"/>
          <p:cNvCxnSpPr>
            <a:stCxn id="13" idx="4"/>
            <a:endCxn id="15" idx="0"/>
          </p:cNvCxnSpPr>
          <p:nvPr/>
        </p:nvCxnSpPr>
        <p:spPr>
          <a:xfrm rot="16200000" flipH="1">
            <a:off x="1982376" y="5622542"/>
            <a:ext cx="285772" cy="3571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14 CuadroTexto"/>
          <p:cNvSpPr txBox="1">
            <a:spLocks noChangeArrowheads="1"/>
          </p:cNvSpPr>
          <p:nvPr/>
        </p:nvSpPr>
        <p:spPr bwMode="auto">
          <a:xfrm>
            <a:off x="642930" y="5783284"/>
            <a:ext cx="300037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</a:t>
            </a:r>
          </a:p>
          <a:p>
            <a:pPr algn="ctr"/>
            <a:r>
              <a:rPr lang="es-CL" i="1" dirty="0">
                <a:latin typeface="+mj-lt"/>
              </a:rPr>
              <a:t>programado</a:t>
            </a:r>
          </a:p>
        </p:txBody>
      </p:sp>
      <p:sp>
        <p:nvSpPr>
          <p:cNvPr id="16" name="15 Elipse"/>
          <p:cNvSpPr/>
          <p:nvPr/>
        </p:nvSpPr>
        <p:spPr>
          <a:xfrm>
            <a:off x="4429125" y="5072062"/>
            <a:ext cx="1000125" cy="4254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7" name="16 Conector recto de flecha"/>
          <p:cNvCxnSpPr>
            <a:stCxn id="16" idx="4"/>
            <a:endCxn id="18" idx="0"/>
          </p:cNvCxnSpPr>
          <p:nvPr/>
        </p:nvCxnSpPr>
        <p:spPr>
          <a:xfrm rot="5400000">
            <a:off x="4786298" y="5640394"/>
            <a:ext cx="285772" cy="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17 CuadroTexto"/>
          <p:cNvSpPr txBox="1">
            <a:spLocks noChangeArrowheads="1"/>
          </p:cNvSpPr>
          <p:nvPr/>
        </p:nvSpPr>
        <p:spPr bwMode="auto">
          <a:xfrm>
            <a:off x="3428992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no programado</a:t>
            </a:r>
          </a:p>
        </p:txBody>
      </p:sp>
      <p:sp>
        <p:nvSpPr>
          <p:cNvPr id="21" name="20 Elipse"/>
          <p:cNvSpPr/>
          <p:nvPr/>
        </p:nvSpPr>
        <p:spPr>
          <a:xfrm>
            <a:off x="214314" y="2357430"/>
            <a:ext cx="785786" cy="342899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22" name="21 Conector recto de flecha"/>
          <p:cNvCxnSpPr>
            <a:stCxn id="21" idx="0"/>
            <a:endCxn id="23" idx="2"/>
          </p:cNvCxnSpPr>
          <p:nvPr/>
        </p:nvCxnSpPr>
        <p:spPr>
          <a:xfrm rot="16200000" flipV="1">
            <a:off x="428601" y="2178824"/>
            <a:ext cx="357190" cy="2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2 CuadroTexto"/>
          <p:cNvSpPr txBox="1">
            <a:spLocks noChangeArrowheads="1"/>
          </p:cNvSpPr>
          <p:nvPr/>
        </p:nvSpPr>
        <p:spPr bwMode="auto">
          <a:xfrm>
            <a:off x="-285784" y="1630353"/>
            <a:ext cx="17859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Aviones</a:t>
            </a:r>
          </a:p>
        </p:txBody>
      </p:sp>
      <p:sp>
        <p:nvSpPr>
          <p:cNvPr id="34" name="33 Elipse"/>
          <p:cNvSpPr/>
          <p:nvPr/>
        </p:nvSpPr>
        <p:spPr>
          <a:xfrm>
            <a:off x="1071565" y="2071679"/>
            <a:ext cx="7929591" cy="500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35" name="34 Conector recto de flecha"/>
          <p:cNvCxnSpPr>
            <a:stCxn id="34" idx="7"/>
            <a:endCxn id="36" idx="2"/>
          </p:cNvCxnSpPr>
          <p:nvPr/>
        </p:nvCxnSpPr>
        <p:spPr>
          <a:xfrm rot="5400000" flipH="1" flipV="1">
            <a:off x="7747311" y="1962643"/>
            <a:ext cx="274852" cy="896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35 CuadroTexto"/>
          <p:cNvSpPr txBox="1">
            <a:spLocks noChangeArrowheads="1"/>
          </p:cNvSpPr>
          <p:nvPr/>
        </p:nvSpPr>
        <p:spPr bwMode="auto">
          <a:xfrm>
            <a:off x="7286644" y="1500174"/>
            <a:ext cx="1285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Tiempo</a:t>
            </a:r>
          </a:p>
        </p:txBody>
      </p:sp>
      <p:sp>
        <p:nvSpPr>
          <p:cNvPr id="26" name="2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>
                <a:latin typeface="+mj-lt"/>
              </a:rPr>
              <a:t>Simulación de Itinerarios de Transporte Aéreo</a:t>
            </a:r>
            <a:endParaRPr lang="es-ES">
              <a:latin typeface="+mj-lt"/>
            </a:endParaRPr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27" name="26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Itinerario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es-CL" sz="3300" dirty="0" smtClean="0">
                <a:solidFill>
                  <a:schemeClr val="accent3">
                    <a:shade val="75000"/>
                  </a:schemeClr>
                </a:solidFill>
              </a:rPr>
              <a:t>Descripción del problema</a:t>
            </a:r>
            <a:endParaRPr lang="es-CL" sz="3300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1" grpId="0"/>
      <p:bldP spid="11" grpId="1"/>
      <p:bldP spid="13" grpId="0" animBg="1"/>
      <p:bldP spid="15" grpId="0"/>
      <p:bldP spid="16" grpId="0" animBg="1"/>
      <p:bldP spid="18" grpId="0"/>
      <p:bldP spid="21" grpId="0" animBg="1"/>
      <p:bldP spid="21" grpId="1" animBg="1"/>
      <p:bldP spid="23" grpId="0"/>
      <p:bldP spid="23" grpId="1"/>
      <p:bldP spid="34" grpId="0" animBg="1"/>
      <p:bldP spid="34" grpId="1" animBg="1"/>
      <p:bldP spid="36" grpId="0"/>
      <p:bldP spid="36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9 de Noviembre de </a:t>
            </a:r>
            <a:r>
              <a:rPr lang="es-CL" dirty="0" smtClean="0"/>
              <a:t>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</a:t>
            </a:r>
            <a:r>
              <a:rPr lang="es-CL" dirty="0" smtClean="0"/>
              <a:t>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  <a:endParaRPr lang="es-CL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8066" name="Picture 2" descr="C:\Users\Rodolfo\PUC\Simulan\docs\Memoria\Defensa\frames\frame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7" name="Picture 3" descr="C:\Users\Rodolfo\PUC\Simulan\docs\Memoria\Defensa\frames\frame1-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9090" name="Picture 2" descr="C:\Users\Rodolfo\PUC\Simulan\docs\Memoria\Defensa\frames\frame1-2 -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0114" name="Picture 2" descr="C:\Users\Rodolfo\PUC\Simulan\docs\Memoria\Defensa\frames\frame1-3-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1138" name="Picture 2" descr="C:\Users\Rodolfo\PUC\Simulan\docs\Memoria\Defensa\frames\frame1-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200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2162" name="Picture 2" descr="C:\Users\Rodolfo\PUC\Simulan\docs\Memoria\Defensa\frames\frame1-5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3186" name="Picture 2" descr="C:\Users\Rodolfo\PUC\Simulan\docs\Memoria\Defensa\frames\frame2.pn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Introduc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</a:t>
            </a:r>
            <a:r>
              <a:rPr lang="es-CL" dirty="0" smtClean="0"/>
              <a:t>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1. Introduc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CL" dirty="0" smtClean="0"/>
              <a:t>Génesis del trabajo</a:t>
            </a:r>
          </a:p>
          <a:p>
            <a:pPr lvl="1"/>
            <a:r>
              <a:rPr lang="es-CL" dirty="0" smtClean="0"/>
              <a:t>Curso Simulación (2008)</a:t>
            </a:r>
          </a:p>
          <a:p>
            <a:pPr lvl="1"/>
            <a:r>
              <a:rPr lang="es-CL" dirty="0" smtClean="0"/>
              <a:t>Práctica en LAN (</a:t>
            </a:r>
            <a:r>
              <a:rPr lang="es-CL" dirty="0" smtClean="0"/>
              <a:t>2009) en Centro </a:t>
            </a:r>
            <a:r>
              <a:rPr lang="es-CL" dirty="0" smtClean="0"/>
              <a:t>de Control Operacional (CCO) </a:t>
            </a:r>
          </a:p>
          <a:p>
            <a:pPr lvl="1"/>
            <a:r>
              <a:rPr lang="es-CL" dirty="0" smtClean="0"/>
              <a:t>Memoria: “Simulación de Itinerarios de Transporte </a:t>
            </a:r>
            <a:r>
              <a:rPr lang="es-CL" dirty="0" smtClean="0"/>
              <a:t>A</a:t>
            </a:r>
            <a:r>
              <a:rPr lang="es-CL" dirty="0" smtClean="0"/>
              <a:t>éreo”</a:t>
            </a:r>
          </a:p>
          <a:p>
            <a:pPr lvl="1"/>
            <a:r>
              <a:rPr lang="es-CL" dirty="0" smtClean="0"/>
              <a:t>Desarrollo de </a:t>
            </a:r>
            <a:r>
              <a:rPr lang="es-CL" dirty="0" err="1" smtClean="0"/>
              <a:t>SimuLAN</a:t>
            </a:r>
            <a:endParaRPr lang="es-CL" dirty="0" smtClean="0"/>
          </a:p>
          <a:p>
            <a:pPr>
              <a:buNone/>
            </a:pPr>
            <a:endParaRPr lang="es-CL" dirty="0" smtClean="0"/>
          </a:p>
          <a:p>
            <a:r>
              <a:rPr lang="es-CL" dirty="0" err="1" smtClean="0"/>
              <a:t>SimuLAN</a:t>
            </a:r>
            <a:endParaRPr lang="es-CL" dirty="0" smtClean="0"/>
          </a:p>
          <a:p>
            <a:pPr lvl="1"/>
            <a:r>
              <a:rPr lang="es-CL" dirty="0" smtClean="0"/>
              <a:t>Simula la operación de itinerarios de </a:t>
            </a:r>
            <a:r>
              <a:rPr lang="es-CL" dirty="0" smtClean="0"/>
              <a:t>vuelo</a:t>
            </a:r>
          </a:p>
          <a:p>
            <a:pPr lvl="2"/>
            <a:r>
              <a:rPr lang="es-CL" dirty="0" smtClean="0"/>
              <a:t>Tramos de vuelo</a:t>
            </a:r>
          </a:p>
          <a:p>
            <a:pPr lvl="2"/>
            <a:r>
              <a:rPr lang="es-CL" dirty="0" smtClean="0"/>
              <a:t>Mantenimiento programado</a:t>
            </a:r>
          </a:p>
          <a:p>
            <a:pPr lvl="2"/>
            <a:r>
              <a:rPr lang="es-CL" dirty="0" smtClean="0"/>
              <a:t>Condiciones </a:t>
            </a:r>
            <a:r>
              <a:rPr lang="es-CL" dirty="0" smtClean="0"/>
              <a:t>de incertidumbre</a:t>
            </a:r>
          </a:p>
          <a:p>
            <a:pPr lvl="2"/>
            <a:r>
              <a:rPr lang="es-CL" dirty="0" smtClean="0"/>
              <a:t>Algoritmo de </a:t>
            </a:r>
            <a:r>
              <a:rPr lang="es-CL" i="1" dirty="0" err="1" smtClean="0"/>
              <a:t>recovery</a:t>
            </a:r>
            <a:r>
              <a:rPr lang="es-CL" i="1" dirty="0" smtClean="0"/>
              <a:t>: </a:t>
            </a:r>
          </a:p>
          <a:p>
            <a:pPr lvl="3"/>
            <a:r>
              <a:rPr lang="es-CL" dirty="0" smtClean="0"/>
              <a:t>Avione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3"/>
            <a:r>
              <a:rPr lang="es-CL" dirty="0" smtClean="0"/>
              <a:t>Turno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2"/>
            <a:r>
              <a:rPr lang="es-CL" dirty="0" smtClean="0"/>
              <a:t>Conexiones de pasajeros</a:t>
            </a:r>
          </a:p>
          <a:p>
            <a:pPr lvl="2"/>
            <a:r>
              <a:rPr lang="es-CL" dirty="0" smtClean="0"/>
              <a:t>Conexiones de tripulantes</a:t>
            </a:r>
            <a:endParaRPr lang="es-CL" dirty="0" smtClean="0"/>
          </a:p>
          <a:p>
            <a:pPr lvl="1"/>
            <a:r>
              <a:rPr lang="es-CL" dirty="0" smtClean="0"/>
              <a:t>Utilidad principal</a:t>
            </a:r>
          </a:p>
          <a:p>
            <a:pPr lvl="2"/>
            <a:r>
              <a:rPr lang="es-CL" dirty="0" smtClean="0"/>
              <a:t>Apoyo a la planificación en mediano plazo (3 meses)</a:t>
            </a:r>
          </a:p>
          <a:p>
            <a:pPr lvl="2"/>
            <a:r>
              <a:rPr lang="es-CL" dirty="0" smtClean="0"/>
              <a:t>Análisis de puntualidad</a:t>
            </a:r>
          </a:p>
          <a:p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cripción del problema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</a:t>
            </a:r>
            <a:r>
              <a:rPr lang="es-CL" dirty="0" smtClean="0"/>
              <a:t>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6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lanificación de Itinerarios</a:t>
            </a:r>
            <a:endParaRPr lang="es-CL" dirty="0"/>
          </a:p>
        </p:txBody>
      </p:sp>
      <p:sp>
        <p:nvSpPr>
          <p:cNvPr id="16" name="15 Medio marco">
            <a:hlinkClick r:id="rId3" action="ppaction://hlinksldjump"/>
          </p:cNvPr>
          <p:cNvSpPr/>
          <p:nvPr/>
        </p:nvSpPr>
        <p:spPr>
          <a:xfrm rot="16200000">
            <a:off x="1357290" y="4714884"/>
            <a:ext cx="428628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17" name="16 Medio marco">
            <a:hlinkClick r:id="rId4" action="ppaction://hlinksldjump"/>
          </p:cNvPr>
          <p:cNvSpPr/>
          <p:nvPr/>
        </p:nvSpPr>
        <p:spPr>
          <a:xfrm rot="16200000">
            <a:off x="1357289" y="3571875"/>
            <a:ext cx="428629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pic>
        <p:nvPicPr>
          <p:cNvPr id="11" name="6 Marcador de contenido" descr="SDXTMPPPT01.emf"/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285852" y="1928802"/>
            <a:ext cx="6429420" cy="45720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marL="571500" indent="-571500"/>
            <a:r>
              <a:rPr lang="es-CL" dirty="0" smtClean="0"/>
              <a:t>2. Descripción del problema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Disrupciones</a:t>
            </a:r>
          </a:p>
          <a:p>
            <a:pPr lvl="1"/>
            <a:r>
              <a:rPr lang="es-CL" dirty="0" smtClean="0"/>
              <a:t>Cualquier evento que afecte la operación como fue planificado</a:t>
            </a:r>
          </a:p>
          <a:p>
            <a:pPr lvl="1"/>
            <a:r>
              <a:rPr lang="es-CL" dirty="0" smtClean="0"/>
              <a:t>162 causas de atraso clasificadas</a:t>
            </a:r>
          </a:p>
          <a:p>
            <a:pPr lvl="1"/>
            <a:r>
              <a:rPr lang="es-CL" dirty="0" smtClean="0"/>
              <a:t>Principales causas de atraso:</a:t>
            </a:r>
          </a:p>
          <a:p>
            <a:pPr lvl="1"/>
            <a:endParaRPr lang="es-CL" dirty="0" smtClean="0"/>
          </a:p>
        </p:txBody>
      </p:sp>
      <p:graphicFrame>
        <p:nvGraphicFramePr>
          <p:cNvPr id="15" name="14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7" r:id="rId10" imgW="0" imgH="0" progId="TCLayout.ActiveDocument.1">
              <p:embed/>
            </p:oleObj>
          </a:graphicData>
        </a:graphic>
      </p:graphicFrame>
      <p:sp>
        <p:nvSpPr>
          <p:cNvPr id="8" name="7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25%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23" name="2 Gráfico"/>
          <p:cNvGraphicFramePr/>
          <p:nvPr/>
        </p:nvGraphicFramePr>
        <p:xfrm>
          <a:off x="1500166" y="3162300"/>
          <a:ext cx="6786610" cy="369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Conexiones</a:t>
            </a:r>
            <a:r>
              <a:rPr lang="es-CL" dirty="0" smtClean="0">
                <a:sym typeface="Wingdings" pitchFamily="2" charset="2"/>
              </a:rPr>
              <a:t> restricciones + atrasos</a:t>
            </a:r>
            <a:endParaRPr lang="es-CL" dirty="0" smtClean="0"/>
          </a:p>
          <a:p>
            <a:pPr lvl="1"/>
            <a:r>
              <a:rPr lang="es-CL" dirty="0" smtClean="0"/>
              <a:t>Pasajeros</a:t>
            </a:r>
          </a:p>
          <a:p>
            <a:pPr lvl="2"/>
            <a:r>
              <a:rPr lang="es-CL" dirty="0" smtClean="0"/>
              <a:t>Restricción blanda: el operador debe decidir cuánto esperar a un grupo de pasajeros.</a:t>
            </a:r>
          </a:p>
          <a:p>
            <a:pPr lvl="3"/>
            <a:r>
              <a:rPr lang="es-CL" dirty="0" smtClean="0"/>
              <a:t>Cantidad de pasajeros</a:t>
            </a:r>
          </a:p>
          <a:p>
            <a:pPr lvl="3"/>
            <a:r>
              <a:rPr lang="es-CL" dirty="0" smtClean="0"/>
              <a:t>Horas hasta próximo vuelo</a:t>
            </a:r>
          </a:p>
          <a:p>
            <a:pPr lvl="1"/>
            <a:r>
              <a:rPr lang="es-CL" dirty="0" smtClean="0"/>
              <a:t>Tripulantes</a:t>
            </a:r>
          </a:p>
          <a:p>
            <a:pPr lvl="2"/>
            <a:r>
              <a:rPr lang="es-CL" dirty="0" smtClean="0"/>
              <a:t>Restricción dura: no se puede operar un vuelo sin tripulación.</a:t>
            </a:r>
          </a:p>
          <a:p>
            <a:pPr lvl="2"/>
            <a:r>
              <a:rPr lang="es-CL" dirty="0" smtClean="0"/>
              <a:t>Restricción blanda: romper conexiones en un mismo avión.</a:t>
            </a:r>
            <a:br>
              <a:rPr lang="es-CL" dirty="0" smtClean="0"/>
            </a:br>
            <a:endParaRPr lang="es-CL" dirty="0"/>
          </a:p>
        </p:txBody>
      </p:sp>
      <p:sp>
        <p:nvSpPr>
          <p:cNvPr id="7" name="6 Elipse"/>
          <p:cNvSpPr/>
          <p:nvPr/>
        </p:nvSpPr>
        <p:spPr>
          <a:xfrm>
            <a:off x="6572264" y="3286124"/>
            <a:ext cx="785818" cy="428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SCL</a:t>
            </a:r>
            <a:endParaRPr lang="es-CL" dirty="0"/>
          </a:p>
        </p:txBody>
      </p:sp>
      <p:cxnSp>
        <p:nvCxnSpPr>
          <p:cNvPr id="9" name="8 Conector recto de flecha"/>
          <p:cNvCxnSpPr>
            <a:endCxn id="7" idx="1"/>
          </p:cNvCxnSpPr>
          <p:nvPr/>
        </p:nvCxnSpPr>
        <p:spPr>
          <a:xfrm>
            <a:off x="5786446" y="3071810"/>
            <a:ext cx="900898" cy="2770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 de flecha"/>
          <p:cNvCxnSpPr>
            <a:endCxn id="7" idx="2"/>
          </p:cNvCxnSpPr>
          <p:nvPr/>
        </p:nvCxnSpPr>
        <p:spPr>
          <a:xfrm>
            <a:off x="5643570" y="3500438"/>
            <a:ext cx="92869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 de flecha"/>
          <p:cNvCxnSpPr>
            <a:endCxn id="7" idx="3"/>
          </p:cNvCxnSpPr>
          <p:nvPr/>
        </p:nvCxnSpPr>
        <p:spPr>
          <a:xfrm flipV="1">
            <a:off x="5786446" y="3651981"/>
            <a:ext cx="900898" cy="2770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>
            <a:stCxn id="7" idx="7"/>
          </p:cNvCxnSpPr>
          <p:nvPr/>
        </p:nvCxnSpPr>
        <p:spPr>
          <a:xfrm rot="5400000" flipH="1" flipV="1">
            <a:off x="7590629" y="2938498"/>
            <a:ext cx="62771" cy="758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 de flecha"/>
          <p:cNvCxnSpPr>
            <a:stCxn id="7" idx="5"/>
          </p:cNvCxnSpPr>
          <p:nvPr/>
        </p:nvCxnSpPr>
        <p:spPr>
          <a:xfrm rot="16200000" flipH="1">
            <a:off x="7590628" y="3304355"/>
            <a:ext cx="62773" cy="758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2 Rectángulo"/>
          <p:cNvSpPr/>
          <p:nvPr/>
        </p:nvSpPr>
        <p:spPr>
          <a:xfrm>
            <a:off x="4357686" y="5143512"/>
            <a:ext cx="714380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23 Rectángulo"/>
          <p:cNvSpPr/>
          <p:nvPr/>
        </p:nvSpPr>
        <p:spPr>
          <a:xfrm>
            <a:off x="2714612" y="5643578"/>
            <a:ext cx="642942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" name="24 Rectángulo"/>
          <p:cNvSpPr/>
          <p:nvPr/>
        </p:nvSpPr>
        <p:spPr>
          <a:xfrm>
            <a:off x="3857620" y="5643578"/>
            <a:ext cx="2786082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25 Rectángulo"/>
          <p:cNvSpPr/>
          <p:nvPr/>
        </p:nvSpPr>
        <p:spPr>
          <a:xfrm>
            <a:off x="1428728" y="5143512"/>
            <a:ext cx="1571636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" name="26 Rectángulo"/>
          <p:cNvSpPr/>
          <p:nvPr/>
        </p:nvSpPr>
        <p:spPr>
          <a:xfrm>
            <a:off x="4357686" y="6072206"/>
            <a:ext cx="1357322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27 Rectángulo"/>
          <p:cNvSpPr/>
          <p:nvPr/>
        </p:nvSpPr>
        <p:spPr>
          <a:xfrm>
            <a:off x="1785918" y="6072206"/>
            <a:ext cx="1714512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28 Rectángulo"/>
          <p:cNvSpPr/>
          <p:nvPr/>
        </p:nvSpPr>
        <p:spPr>
          <a:xfrm>
            <a:off x="1142976" y="5643578"/>
            <a:ext cx="1000164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0" name="29 Rectángulo"/>
          <p:cNvSpPr/>
          <p:nvPr/>
        </p:nvSpPr>
        <p:spPr>
          <a:xfrm>
            <a:off x="7000892" y="5643578"/>
            <a:ext cx="1000132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30 Rectángulo"/>
          <p:cNvSpPr/>
          <p:nvPr/>
        </p:nvSpPr>
        <p:spPr>
          <a:xfrm>
            <a:off x="5786446" y="5143512"/>
            <a:ext cx="2143140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2" name="31 Rectángulo"/>
          <p:cNvSpPr/>
          <p:nvPr/>
        </p:nvSpPr>
        <p:spPr>
          <a:xfrm>
            <a:off x="6215074" y="6072206"/>
            <a:ext cx="2143140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33 Elipse"/>
          <p:cNvSpPr/>
          <p:nvPr/>
        </p:nvSpPr>
        <p:spPr>
          <a:xfrm>
            <a:off x="285720" y="5072074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1</a:t>
            </a:r>
            <a:endParaRPr lang="es-CL" sz="1000" dirty="0"/>
          </a:p>
        </p:txBody>
      </p:sp>
      <p:sp>
        <p:nvSpPr>
          <p:cNvPr id="35" name="34 Elipse"/>
          <p:cNvSpPr/>
          <p:nvPr/>
        </p:nvSpPr>
        <p:spPr>
          <a:xfrm>
            <a:off x="285720" y="5500702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2</a:t>
            </a:r>
            <a:endParaRPr lang="es-CL" sz="1000" dirty="0"/>
          </a:p>
        </p:txBody>
      </p:sp>
      <p:sp>
        <p:nvSpPr>
          <p:cNvPr id="36" name="35 Elipse"/>
          <p:cNvSpPr/>
          <p:nvPr/>
        </p:nvSpPr>
        <p:spPr>
          <a:xfrm>
            <a:off x="285720" y="5929330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3</a:t>
            </a:r>
            <a:endParaRPr lang="es-CL" sz="1000" dirty="0"/>
          </a:p>
        </p:txBody>
      </p:sp>
      <p:cxnSp>
        <p:nvCxnSpPr>
          <p:cNvPr id="44" name="43 Conector recto de flecha"/>
          <p:cNvCxnSpPr>
            <a:stCxn id="28" idx="3"/>
            <a:endCxn id="27" idx="1"/>
          </p:cNvCxnSpPr>
          <p:nvPr/>
        </p:nvCxnSpPr>
        <p:spPr>
          <a:xfrm>
            <a:off x="3500430" y="6143644"/>
            <a:ext cx="864000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09 de Noviembre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sz="2400" dirty="0" err="1" smtClean="0"/>
              <a:t>Recovery</a:t>
            </a:r>
            <a:r>
              <a:rPr lang="es-CL" sz="2400" dirty="0" smtClean="0"/>
              <a:t>: “volviendo a la normalidad”</a:t>
            </a:r>
            <a:endParaRPr lang="es-CL" sz="2400" dirty="0" smtClean="0"/>
          </a:p>
          <a:p>
            <a:pPr lvl="1"/>
            <a:r>
              <a:rPr lang="es-CL" sz="2000" dirty="0" smtClean="0"/>
              <a:t>Reasignación</a:t>
            </a:r>
            <a:r>
              <a:rPr lang="es-CL" sz="2000" i="1" dirty="0" smtClean="0"/>
              <a:t> (swap) </a:t>
            </a:r>
          </a:p>
          <a:p>
            <a:pPr lvl="1"/>
            <a:r>
              <a:rPr lang="es-CL" sz="2000" dirty="0" smtClean="0"/>
              <a:t>Aviones de </a:t>
            </a:r>
            <a:r>
              <a:rPr lang="es-CL" sz="2000" i="1" dirty="0" err="1" smtClean="0"/>
              <a:t>backup</a:t>
            </a:r>
            <a:endParaRPr lang="es-CL" sz="2000" i="1" dirty="0" smtClean="0"/>
          </a:p>
          <a:p>
            <a:pPr lvl="1"/>
            <a:r>
              <a:rPr lang="es-CL" sz="2000" dirty="0" smtClean="0"/>
              <a:t>Reprogramación</a:t>
            </a:r>
          </a:p>
          <a:p>
            <a:pPr lvl="1"/>
            <a:r>
              <a:rPr lang="es-CL" sz="2000" dirty="0" smtClean="0"/>
              <a:t>Cancelación</a:t>
            </a:r>
          </a:p>
          <a:p>
            <a:pPr lvl="1">
              <a:buNone/>
            </a:pPr>
            <a:endParaRPr lang="es-CL" sz="2000" i="1" dirty="0" smtClean="0"/>
          </a:p>
          <a:p>
            <a:r>
              <a:rPr lang="es-CL" sz="2400" dirty="0" smtClean="0"/>
              <a:t>Robustez de itinerario</a:t>
            </a:r>
          </a:p>
          <a:p>
            <a:pPr lvl="1"/>
            <a:r>
              <a:rPr lang="es-CL" sz="2000" dirty="0" smtClean="0"/>
              <a:t>Objetivos contrapuestos:</a:t>
            </a:r>
          </a:p>
          <a:p>
            <a:pPr lvl="2"/>
            <a:r>
              <a:rPr lang="es-CL" sz="1800" dirty="0" smtClean="0"/>
              <a:t>Calidad </a:t>
            </a:r>
            <a:r>
              <a:rPr lang="es-CL" sz="1800" dirty="0" smtClean="0"/>
              <a:t>de servicio: </a:t>
            </a:r>
            <a:r>
              <a:rPr lang="es-CL" sz="1800" dirty="0" smtClean="0"/>
              <a:t>puntualidad</a:t>
            </a:r>
          </a:p>
          <a:p>
            <a:pPr lvl="2"/>
            <a:r>
              <a:rPr lang="es-CL" sz="1800" dirty="0" smtClean="0"/>
              <a:t>Uso de </a:t>
            </a:r>
            <a:r>
              <a:rPr lang="es-CL" sz="1800" dirty="0" smtClean="0"/>
              <a:t>activos</a:t>
            </a:r>
          </a:p>
          <a:p>
            <a:pPr lvl="3"/>
            <a:r>
              <a:rPr lang="es-CL" sz="1800" dirty="0" smtClean="0"/>
              <a:t>Equilibrio comercial-operacional</a:t>
            </a:r>
          </a:p>
          <a:p>
            <a:pPr lvl="1"/>
            <a:endParaRPr lang="es-CL" sz="2000" i="1" dirty="0" smtClean="0"/>
          </a:p>
          <a:p>
            <a:endParaRPr lang="es-CL" sz="2400" dirty="0"/>
          </a:p>
        </p:txBody>
      </p:sp>
      <p:sp>
        <p:nvSpPr>
          <p:cNvPr id="8" name="7 Botón de acción: Final">
            <a:hlinkClick r:id="rId3" action="ppaction://hlinksldjump" highlightClick="1"/>
          </p:cNvPr>
          <p:cNvSpPr/>
          <p:nvPr/>
        </p:nvSpPr>
        <p:spPr>
          <a:xfrm>
            <a:off x="3286116" y="2071678"/>
            <a:ext cx="357190" cy="285752"/>
          </a:xfrm>
          <a:prstGeom prst="actionButtonEnd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124" name="Picture 4" descr="http://www.lasescapadas.com/wp-content/uploads/2007/10/la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7884" y="1714488"/>
            <a:ext cx="2571768" cy="1981065"/>
          </a:xfrm>
          <a:prstGeom prst="rect">
            <a:avLst/>
          </a:prstGeom>
          <a:noFill/>
        </p:spPr>
      </p:pic>
      <p:pic>
        <p:nvPicPr>
          <p:cNvPr id="5126" name="Picture 6" descr="http://www.cnnexpansion.com/photos/2008/07/01/vw-y-nissan-desembolsan-cada-ano-un-monto-equivalente-al-aguinaldo-en-premios-a-la-puntualidad-especial.2008-07-31.513463744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29388" y="3929066"/>
            <a:ext cx="1380516" cy="221457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9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6&quot;&gt;&lt;elem&gt;&lt;m_ppcolschidx val=&quot;0&quot;/&gt;&lt;m_rgb r=&quot;16&quot; g=&quot;18&quot; b=&quot;76&quot;/&gt;&lt;/elem&gt;&lt;elem&gt;&lt;m_ppcolschidx val=&quot;0&quot;/&gt;&lt;m_rgb r=&quot;d6&quot; g=&quot;df&quot; b=&quot;e9&quot;/&gt;&lt;/elem&gt;&lt;elem&gt;&lt;m_ppcolschidx val=&quot;0&quot;/&gt;&lt;m_rgb r=&quot;df&quot; g=&quot;e6&quot; b=&quot;f2&quot;/&gt;&lt;/elem&gt;&lt;elem&gt;&lt;m_ppcolschidx val=&quot;0&quot;/&gt;&lt;m_rgb r=&quot;b1&quot; g=&quot;b6&quot; b=&quot;d8&quot;/&gt;&lt;/elem&gt;&lt;elem&gt;&lt;m_ppcolschidx val=&quot;0&quot;/&gt;&lt;m_rgb r=&quot;16&quot; g=&quot;18&quot; b=&quot;74&quot;/&gt;&lt;/elem&gt;&lt;elem&gt;&lt;m_ppcolschidx val=&quot;0&quot;/&gt;&lt;m_rgb r=&quot;b0&quot; g=&quot;c0&quot; b=&quot;d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5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AsoI2_c0.czfqvLOoP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GJ3GIT80KVCeUnFLq9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IFur5fE0unrKUK9f9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7dKXpq9E61Sx3fgWIl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IXRnOh70uQIbhUXcm4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M455RgLkKFgfRi1LWnz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vil">
  <a:themeElements>
    <a:clrScheme name="Personalizado 1">
      <a:dk1>
        <a:sysClr val="windowText" lastClr="000000"/>
      </a:dk1>
      <a:lt1>
        <a:sysClr val="window" lastClr="FFFFFF"/>
      </a:lt1>
      <a:dk2>
        <a:srgbClr val="3F3F3F"/>
      </a:dk2>
      <a:lt2>
        <a:srgbClr val="FAFAFA"/>
      </a:lt2>
      <a:accent1>
        <a:srgbClr val="181B7E"/>
      </a:accent1>
      <a:accent2>
        <a:srgbClr val="2529BD"/>
      </a:accent2>
      <a:accent3>
        <a:srgbClr val="9799EA"/>
      </a:accent3>
      <a:accent4>
        <a:srgbClr val="B9BBF1"/>
      </a:accent4>
      <a:accent5>
        <a:srgbClr val="CFD0F5"/>
      </a:accent5>
      <a:accent6>
        <a:srgbClr val="FFFFFF"/>
      </a:accent6>
      <a:hlink>
        <a:srgbClr val="DB5353"/>
      </a:hlink>
      <a:folHlink>
        <a:srgbClr val="90363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9563</TotalTime>
  <Words>1301</Words>
  <Application>Microsoft Office PowerPoint</Application>
  <PresentationFormat>Presentación en pantalla (4:3)</PresentationFormat>
  <Paragraphs>363</Paragraphs>
  <Slides>26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26</vt:i4>
      </vt:variant>
    </vt:vector>
  </HeadingPairs>
  <TitlesOfParts>
    <vt:vector size="27" baseType="lpstr">
      <vt:lpstr>Civil</vt:lpstr>
      <vt:lpstr>SimuLAN Simulación de Itinerarios de Transporte Aéreo</vt:lpstr>
      <vt:lpstr>Contenido</vt:lpstr>
      <vt:lpstr>Contenido</vt:lpstr>
      <vt:lpstr>1. Introducción</vt:lpstr>
      <vt:lpstr>Contenido</vt:lpstr>
      <vt:lpstr>2. Descripción del problema</vt:lpstr>
      <vt:lpstr>2. Descripción del problema</vt:lpstr>
      <vt:lpstr>2. Descripción del problema</vt:lpstr>
      <vt:lpstr>2. Descripción del problema</vt:lpstr>
      <vt:lpstr>Contenido</vt:lpstr>
      <vt:lpstr>3. Modelo de simulación</vt:lpstr>
      <vt:lpstr>3. Modelo de simulación</vt:lpstr>
      <vt:lpstr>3. Modelo de simulación</vt:lpstr>
      <vt:lpstr>3. Modelo de simulación</vt:lpstr>
      <vt:lpstr>Contenido</vt:lpstr>
      <vt:lpstr>Diapositiva 16</vt:lpstr>
      <vt:lpstr>SimuLAN Simulación de Itinerarios de Transporte Aéreo</vt:lpstr>
      <vt:lpstr>Diapositiva 18</vt:lpstr>
      <vt:lpstr>Diapositiva 19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uLAN</dc:title>
  <dc:creator>MAM</dc:creator>
  <cp:lastModifiedBy>Rodolfo</cp:lastModifiedBy>
  <cp:revision>383</cp:revision>
  <dcterms:created xsi:type="dcterms:W3CDTF">2009-01-05T12:44:24Z</dcterms:created>
  <dcterms:modified xsi:type="dcterms:W3CDTF">2010-11-09T02:16:45Z</dcterms:modified>
</cp:coreProperties>
</file>